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2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9D9D9"/>
    <a:srgbClr val="FFF2CC"/>
    <a:srgbClr val="FF7E83"/>
    <a:srgbClr val="73797C"/>
    <a:srgbClr val="FFFFFF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68" d="100"/>
          <a:sy n="168" d="100"/>
        </p:scale>
        <p:origin x="150" y="288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01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01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01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01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01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01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0400" y="943593"/>
            <a:ext cx="9864000" cy="450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493</TotalTime>
  <Words>6</Words>
  <Application>Microsoft Office PowerPoint</Application>
  <PresentationFormat>Custom</PresentationFormat>
  <Paragraphs>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0</cp:revision>
  <cp:lastPrinted>2017-08-08T07:27:09Z</cp:lastPrinted>
  <dcterms:created xsi:type="dcterms:W3CDTF">2015-06-10T12:48:40Z</dcterms:created>
  <dcterms:modified xsi:type="dcterms:W3CDTF">2025-10-01T13:50:35Z</dcterms:modified>
</cp:coreProperties>
</file>